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29F8B0-8D4F-4825-A476-970F145ABC4A}" v="49" dt="2023-03-13T22:09:34.2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94" d="100"/>
          <a:sy n="94" d="100"/>
        </p:scale>
        <p:origin x="108" y="822"/>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529F8B0-8D4F-4825-A476-970F145ABC4A}"/>
    <pc:docChg chg="modSld">
      <pc:chgData name="Roberto Gallardo" userId="49a044883f185952" providerId="LiveId" clId="{2529F8B0-8D4F-4825-A476-970F145ABC4A}" dt="2023-03-13T22:09:45.127" v="272" actId="1076"/>
      <pc:docMkLst>
        <pc:docMk/>
      </pc:docMkLst>
      <pc:sldChg chg="addSp modSp mod">
        <pc:chgData name="Roberto Gallardo" userId="49a044883f185952" providerId="LiveId" clId="{2529F8B0-8D4F-4825-A476-970F145ABC4A}" dt="2023-03-13T22:04:42.743" v="12" actId="1036"/>
        <pc:sldMkLst>
          <pc:docMk/>
          <pc:sldMk cId="1418533539" sldId="271"/>
        </pc:sldMkLst>
        <pc:picChg chg="add mod">
          <ac:chgData name="Roberto Gallardo" userId="49a044883f185952" providerId="LiveId" clId="{2529F8B0-8D4F-4825-A476-970F145ABC4A}" dt="2023-03-13T22:04:42.743" v="12" actId="1036"/>
          <ac:picMkLst>
            <pc:docMk/>
            <pc:sldMk cId="1418533539" sldId="271"/>
            <ac:picMk id="6" creationId="{B9C0420D-713F-F745-DBF6-8D86BA9CDCA8}"/>
          </ac:picMkLst>
        </pc:picChg>
      </pc:sldChg>
      <pc:sldChg chg="addSp modSp mod">
        <pc:chgData name="Roberto Gallardo" userId="49a044883f185952" providerId="LiveId" clId="{2529F8B0-8D4F-4825-A476-970F145ABC4A}" dt="2023-03-13T22:06:27.635" v="85" actId="1035"/>
        <pc:sldMkLst>
          <pc:docMk/>
          <pc:sldMk cId="2124848710" sldId="281"/>
        </pc:sldMkLst>
        <pc:picChg chg="add mod">
          <ac:chgData name="Roberto Gallardo" userId="49a044883f185952" providerId="LiveId" clId="{2529F8B0-8D4F-4825-A476-970F145ABC4A}" dt="2023-03-13T22:06:27.635" v="85" actId="1035"/>
          <ac:picMkLst>
            <pc:docMk/>
            <pc:sldMk cId="2124848710" sldId="281"/>
            <ac:picMk id="6" creationId="{FA879AD2-431C-1986-7615-E492789D94C8}"/>
          </ac:picMkLst>
        </pc:picChg>
      </pc:sldChg>
      <pc:sldChg chg="addSp modSp mod">
        <pc:chgData name="Roberto Gallardo" userId="49a044883f185952" providerId="LiveId" clId="{2529F8B0-8D4F-4825-A476-970F145ABC4A}" dt="2023-03-13T22:06:43.294" v="94" actId="1076"/>
        <pc:sldMkLst>
          <pc:docMk/>
          <pc:sldMk cId="2028175529" sldId="282"/>
        </pc:sldMkLst>
        <pc:picChg chg="add mod">
          <ac:chgData name="Roberto Gallardo" userId="49a044883f185952" providerId="LiveId" clId="{2529F8B0-8D4F-4825-A476-970F145ABC4A}" dt="2023-03-13T22:06:43.294" v="94" actId="1076"/>
          <ac:picMkLst>
            <pc:docMk/>
            <pc:sldMk cId="2028175529" sldId="282"/>
            <ac:picMk id="7" creationId="{F8DC8196-733F-0AEF-041F-01D69CD7A0F6}"/>
          </ac:picMkLst>
        </pc:picChg>
      </pc:sldChg>
      <pc:sldChg chg="addSp modSp mod">
        <pc:chgData name="Roberto Gallardo" userId="49a044883f185952" providerId="LiveId" clId="{2529F8B0-8D4F-4825-A476-970F145ABC4A}" dt="2023-03-13T22:06:58.765" v="104" actId="1076"/>
        <pc:sldMkLst>
          <pc:docMk/>
          <pc:sldMk cId="1326517747" sldId="283"/>
        </pc:sldMkLst>
        <pc:picChg chg="add mod">
          <ac:chgData name="Roberto Gallardo" userId="49a044883f185952" providerId="LiveId" clId="{2529F8B0-8D4F-4825-A476-970F145ABC4A}" dt="2023-03-13T22:06:58.765" v="104" actId="1076"/>
          <ac:picMkLst>
            <pc:docMk/>
            <pc:sldMk cId="1326517747" sldId="283"/>
            <ac:picMk id="7" creationId="{B1D38B19-CB0C-E03F-3140-F9905140EEB0}"/>
          </ac:picMkLst>
        </pc:picChg>
      </pc:sldChg>
      <pc:sldChg chg="addSp modSp mod">
        <pc:chgData name="Roberto Gallardo" userId="49a044883f185952" providerId="LiveId" clId="{2529F8B0-8D4F-4825-A476-970F145ABC4A}" dt="2023-03-13T22:07:13.794" v="126" actId="1035"/>
        <pc:sldMkLst>
          <pc:docMk/>
          <pc:sldMk cId="783739251" sldId="284"/>
        </pc:sldMkLst>
        <pc:picChg chg="add mod">
          <ac:chgData name="Roberto Gallardo" userId="49a044883f185952" providerId="LiveId" clId="{2529F8B0-8D4F-4825-A476-970F145ABC4A}" dt="2023-03-13T22:07:13.794" v="126" actId="1035"/>
          <ac:picMkLst>
            <pc:docMk/>
            <pc:sldMk cId="783739251" sldId="284"/>
            <ac:picMk id="7" creationId="{ABC03041-4823-352C-E1E2-78AE74E188C9}"/>
          </ac:picMkLst>
        </pc:picChg>
      </pc:sldChg>
      <pc:sldChg chg="addSp modSp mod">
        <pc:chgData name="Roberto Gallardo" userId="49a044883f185952" providerId="LiveId" clId="{2529F8B0-8D4F-4825-A476-970F145ABC4A}" dt="2023-03-13T22:07:27.763" v="134" actId="14100"/>
        <pc:sldMkLst>
          <pc:docMk/>
          <pc:sldMk cId="1676122233" sldId="285"/>
        </pc:sldMkLst>
        <pc:picChg chg="add mod">
          <ac:chgData name="Roberto Gallardo" userId="49a044883f185952" providerId="LiveId" clId="{2529F8B0-8D4F-4825-A476-970F145ABC4A}" dt="2023-03-13T22:07:27.763" v="134" actId="14100"/>
          <ac:picMkLst>
            <pc:docMk/>
            <pc:sldMk cId="1676122233" sldId="285"/>
            <ac:picMk id="7" creationId="{05E2739B-2EFB-40B9-1DF9-30ED0A520701}"/>
          </ac:picMkLst>
        </pc:picChg>
      </pc:sldChg>
      <pc:sldChg chg="addSp modSp mod">
        <pc:chgData name="Roberto Gallardo" userId="49a044883f185952" providerId="LiveId" clId="{2529F8B0-8D4F-4825-A476-970F145ABC4A}" dt="2023-03-13T22:07:44.956" v="149" actId="1036"/>
        <pc:sldMkLst>
          <pc:docMk/>
          <pc:sldMk cId="3100398757" sldId="286"/>
        </pc:sldMkLst>
        <pc:picChg chg="add mod">
          <ac:chgData name="Roberto Gallardo" userId="49a044883f185952" providerId="LiveId" clId="{2529F8B0-8D4F-4825-A476-970F145ABC4A}" dt="2023-03-13T22:07:44.956" v="149" actId="1036"/>
          <ac:picMkLst>
            <pc:docMk/>
            <pc:sldMk cId="3100398757" sldId="286"/>
            <ac:picMk id="7" creationId="{9DC1132B-1278-9AE3-9CF6-B1E1DD949356}"/>
          </ac:picMkLst>
        </pc:picChg>
      </pc:sldChg>
      <pc:sldChg chg="addSp modSp mod">
        <pc:chgData name="Roberto Gallardo" userId="49a044883f185952" providerId="LiveId" clId="{2529F8B0-8D4F-4825-A476-970F145ABC4A}" dt="2023-03-13T22:07:59.218" v="158" actId="1076"/>
        <pc:sldMkLst>
          <pc:docMk/>
          <pc:sldMk cId="1546475425" sldId="287"/>
        </pc:sldMkLst>
        <pc:picChg chg="add mod">
          <ac:chgData name="Roberto Gallardo" userId="49a044883f185952" providerId="LiveId" clId="{2529F8B0-8D4F-4825-A476-970F145ABC4A}" dt="2023-03-13T22:07:59.218" v="158" actId="1076"/>
          <ac:picMkLst>
            <pc:docMk/>
            <pc:sldMk cId="1546475425" sldId="287"/>
            <ac:picMk id="7" creationId="{EDB01345-50DB-48C5-8A9D-BC388CB3E592}"/>
          </ac:picMkLst>
        </pc:picChg>
      </pc:sldChg>
      <pc:sldChg chg="addSp modSp mod">
        <pc:chgData name="Roberto Gallardo" userId="49a044883f185952" providerId="LiveId" clId="{2529F8B0-8D4F-4825-A476-970F145ABC4A}" dt="2023-03-13T22:08:29.617" v="204" actId="1036"/>
        <pc:sldMkLst>
          <pc:docMk/>
          <pc:sldMk cId="1380517306" sldId="288"/>
        </pc:sldMkLst>
        <pc:picChg chg="add mod">
          <ac:chgData name="Roberto Gallardo" userId="49a044883f185952" providerId="LiveId" clId="{2529F8B0-8D4F-4825-A476-970F145ABC4A}" dt="2023-03-13T22:08:29.617" v="204" actId="1036"/>
          <ac:picMkLst>
            <pc:docMk/>
            <pc:sldMk cId="1380517306" sldId="288"/>
            <ac:picMk id="7" creationId="{25FD9BB4-D4A3-ABE9-7A16-9D201CF24A25}"/>
          </ac:picMkLst>
        </pc:picChg>
      </pc:sldChg>
      <pc:sldChg chg="addSp modSp mod">
        <pc:chgData name="Roberto Gallardo" userId="49a044883f185952" providerId="LiveId" clId="{2529F8B0-8D4F-4825-A476-970F145ABC4A}" dt="2023-03-13T22:08:45.769" v="218" actId="1036"/>
        <pc:sldMkLst>
          <pc:docMk/>
          <pc:sldMk cId="1388671151" sldId="289"/>
        </pc:sldMkLst>
        <pc:picChg chg="add mod">
          <ac:chgData name="Roberto Gallardo" userId="49a044883f185952" providerId="LiveId" clId="{2529F8B0-8D4F-4825-A476-970F145ABC4A}" dt="2023-03-13T22:08:45.769" v="218" actId="1036"/>
          <ac:picMkLst>
            <pc:docMk/>
            <pc:sldMk cId="1388671151" sldId="289"/>
            <ac:picMk id="7" creationId="{4FF6201A-9436-B297-92DC-6555C259B102}"/>
          </ac:picMkLst>
        </pc:picChg>
      </pc:sldChg>
      <pc:sldChg chg="addSp modSp mod">
        <pc:chgData name="Roberto Gallardo" userId="49a044883f185952" providerId="LiveId" clId="{2529F8B0-8D4F-4825-A476-970F145ABC4A}" dt="2023-03-13T22:09:23.638" v="261" actId="1036"/>
        <pc:sldMkLst>
          <pc:docMk/>
          <pc:sldMk cId="2355376039" sldId="290"/>
        </pc:sldMkLst>
        <pc:picChg chg="add mod">
          <ac:chgData name="Roberto Gallardo" userId="49a044883f185952" providerId="LiveId" clId="{2529F8B0-8D4F-4825-A476-970F145ABC4A}" dt="2023-03-13T22:09:23.638" v="261" actId="1036"/>
          <ac:picMkLst>
            <pc:docMk/>
            <pc:sldMk cId="2355376039" sldId="290"/>
            <ac:picMk id="8" creationId="{82E9312D-9C47-27C1-C712-BA1774D94B4D}"/>
          </ac:picMkLst>
        </pc:picChg>
      </pc:sldChg>
      <pc:sldChg chg="addSp modSp mod">
        <pc:chgData name="Roberto Gallardo" userId="49a044883f185952" providerId="LiveId" clId="{2529F8B0-8D4F-4825-A476-970F145ABC4A}" dt="2023-03-13T22:09:45.127" v="272" actId="1076"/>
        <pc:sldMkLst>
          <pc:docMk/>
          <pc:sldMk cId="3757257295" sldId="291"/>
        </pc:sldMkLst>
        <pc:picChg chg="add mod">
          <ac:chgData name="Roberto Gallardo" userId="49a044883f185952" providerId="LiveId" clId="{2529F8B0-8D4F-4825-A476-970F145ABC4A}" dt="2023-03-13T22:09:45.127" v="272" actId="1076"/>
          <ac:picMkLst>
            <pc:docMk/>
            <pc:sldMk cId="3757257295" sldId="291"/>
            <ac:picMk id="8" creationId="{C2B8876E-2D8C-ACAE-74AB-84590464FFC1}"/>
          </ac:picMkLst>
        </pc:picChg>
      </pc:sldChg>
      <pc:sldChg chg="addSp modSp mod">
        <pc:chgData name="Roberto Gallardo" userId="49a044883f185952" providerId="LiveId" clId="{2529F8B0-8D4F-4825-A476-970F145ABC4A}" dt="2023-03-13T22:08:13.473" v="183" actId="1035"/>
        <pc:sldMkLst>
          <pc:docMk/>
          <pc:sldMk cId="1259856727" sldId="292"/>
        </pc:sldMkLst>
        <pc:picChg chg="add mod">
          <ac:chgData name="Roberto Gallardo" userId="49a044883f185952" providerId="LiveId" clId="{2529F8B0-8D4F-4825-A476-970F145ABC4A}" dt="2023-03-13T22:08:13.473" v="183" actId="1035"/>
          <ac:picMkLst>
            <pc:docMk/>
            <pc:sldMk cId="1259856727" sldId="292"/>
            <ac:picMk id="7" creationId="{27E86263-5CB8-4A1E-D1EF-0A41D4FBA110}"/>
          </ac:picMkLst>
        </pc:picChg>
      </pc:sldChg>
      <pc:sldChg chg="addSp modSp mod">
        <pc:chgData name="Roberto Gallardo" userId="49a044883f185952" providerId="LiveId" clId="{2529F8B0-8D4F-4825-A476-970F145ABC4A}" dt="2023-03-13T22:06:10.925" v="60" actId="1036"/>
        <pc:sldMkLst>
          <pc:docMk/>
          <pc:sldMk cId="3324519687" sldId="293"/>
        </pc:sldMkLst>
        <pc:picChg chg="add mod">
          <ac:chgData name="Roberto Gallardo" userId="49a044883f185952" providerId="LiveId" clId="{2529F8B0-8D4F-4825-A476-970F145ABC4A}" dt="2023-03-13T22:06:10.925" v="60" actId="1036"/>
          <ac:picMkLst>
            <pc:docMk/>
            <pc:sldMk cId="3324519687" sldId="293"/>
            <ac:picMk id="7" creationId="{8606A69C-7FA8-7E6F-83E2-47E781E700F3}"/>
          </ac:picMkLst>
        </pc:picChg>
      </pc:sldChg>
      <pc:sldChg chg="addSp modSp mod">
        <pc:chgData name="Roberto Gallardo" userId="49a044883f185952" providerId="LiveId" clId="{2529F8B0-8D4F-4825-A476-970F145ABC4A}" dt="2023-03-13T22:05:40.783" v="40" actId="1076"/>
        <pc:sldMkLst>
          <pc:docMk/>
          <pc:sldMk cId="3256182630" sldId="295"/>
        </pc:sldMkLst>
        <pc:picChg chg="add mod">
          <ac:chgData name="Roberto Gallardo" userId="49a044883f185952" providerId="LiveId" clId="{2529F8B0-8D4F-4825-A476-970F145ABC4A}" dt="2023-03-13T22:05:40.783" v="40" actId="1076"/>
          <ac:picMkLst>
            <pc:docMk/>
            <pc:sldMk cId="3256182630" sldId="295"/>
            <ac:picMk id="7" creationId="{90330267-6D54-5F54-C514-6EEC375D17B0}"/>
          </ac:picMkLst>
        </pc:picChg>
      </pc:sldChg>
      <pc:sldChg chg="addSp modSp mod">
        <pc:chgData name="Roberto Gallardo" userId="49a044883f185952" providerId="LiveId" clId="{2529F8B0-8D4F-4825-A476-970F145ABC4A}" dt="2023-03-13T22:05:55.950" v="49" actId="1076"/>
        <pc:sldMkLst>
          <pc:docMk/>
          <pc:sldMk cId="4057156843" sldId="296"/>
        </pc:sldMkLst>
        <pc:picChg chg="add mod">
          <ac:chgData name="Roberto Gallardo" userId="49a044883f185952" providerId="LiveId" clId="{2529F8B0-8D4F-4825-A476-970F145ABC4A}" dt="2023-03-13T22:05:55.950" v="49" actId="1076"/>
          <ac:picMkLst>
            <pc:docMk/>
            <pc:sldMk cId="4057156843" sldId="296"/>
            <ac:picMk id="7" creationId="{CBF8158D-48FF-99D4-F649-C17AD0729506}"/>
          </ac:picMkLst>
        </pc:picChg>
      </pc:sldChg>
      <pc:sldChg chg="addSp modSp mod">
        <pc:chgData name="Roberto Gallardo" userId="49a044883f185952" providerId="LiveId" clId="{2529F8B0-8D4F-4825-A476-970F145ABC4A}" dt="2023-03-13T22:05:23.491" v="31" actId="1076"/>
        <pc:sldMkLst>
          <pc:docMk/>
          <pc:sldMk cId="2080110827" sldId="297"/>
        </pc:sldMkLst>
        <pc:picChg chg="add mod">
          <ac:chgData name="Roberto Gallardo" userId="49a044883f185952" providerId="LiveId" clId="{2529F8B0-8D4F-4825-A476-970F145ABC4A}" dt="2023-03-13T22:05:23.491" v="31" actId="1076"/>
          <ac:picMkLst>
            <pc:docMk/>
            <pc:sldMk cId="2080110827" sldId="297"/>
            <ac:picMk id="6" creationId="{A79F8535-255F-1FC5-4C12-EB05CA528B03}"/>
          </ac:picMkLst>
        </pc:picChg>
      </pc:sldChg>
      <pc:sldChg chg="addSp modSp mod">
        <pc:chgData name="Roberto Gallardo" userId="49a044883f185952" providerId="LiveId" clId="{2529F8B0-8D4F-4825-A476-970F145ABC4A}" dt="2023-03-13T22:04:58.298" v="19" actId="1076"/>
        <pc:sldMkLst>
          <pc:docMk/>
          <pc:sldMk cId="1532666867" sldId="298"/>
        </pc:sldMkLst>
        <pc:picChg chg="add mod">
          <ac:chgData name="Roberto Gallardo" userId="49a044883f185952" providerId="LiveId" clId="{2529F8B0-8D4F-4825-A476-970F145ABC4A}" dt="2023-03-13T22:04:58.298" v="19" actId="1076"/>
          <ac:picMkLst>
            <pc:docMk/>
            <pc:sldMk cId="1532666867" sldId="298"/>
            <ac:picMk id="6" creationId="{3797A6FA-AE2D-5A89-442E-A704E7069EAD}"/>
          </ac:picMkLst>
        </pc:picChg>
      </pc:sldChg>
      <pc:sldChg chg="addSp modSp mod">
        <pc:chgData name="Roberto Gallardo" userId="49a044883f185952" providerId="LiveId" clId="{2529F8B0-8D4F-4825-A476-970F145ABC4A}" dt="2023-03-13T22:09:06.678" v="243" actId="1035"/>
        <pc:sldMkLst>
          <pc:docMk/>
          <pc:sldMk cId="1951376777" sldId="299"/>
        </pc:sldMkLst>
        <pc:picChg chg="add mod">
          <ac:chgData name="Roberto Gallardo" userId="49a044883f185952" providerId="LiveId" clId="{2529F8B0-8D4F-4825-A476-970F145ABC4A}" dt="2023-03-13T22:09:06.678" v="243" actId="1035"/>
          <ac:picMkLst>
            <pc:docMk/>
            <pc:sldMk cId="1951376777" sldId="299"/>
            <ac:picMk id="7" creationId="{57A1B88D-3149-BCA9-3A51-3520C67C510D}"/>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Caswell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8774AA2-AB38-258C-391A-732F896BF4AF}"/>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9ECCF80B-A4C4-419B-6A5D-00280A68A438}"/>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B9C0420D-713F-F745-DBF6-8D86BA9CDC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40378"/>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3797A6FA-AE2D-5A89-442E-A704E7069E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A79F8535-255F-1FC5-4C12-EB05CA528B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5189" y="1030706"/>
            <a:ext cx="7565422" cy="5349942"/>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5525FA09-F45F-35EA-151C-4ECD5997CFE1}"/>
              </a:ext>
            </a:extLst>
          </p:cNvPr>
          <p:cNvPicPr/>
          <p:nvPr/>
        </p:nvPicPr>
        <p:blipFill>
          <a:blip r:embed="rId2"/>
          <a:stretch>
            <a:fillRect/>
          </a:stretch>
        </p:blipFill>
        <p:spPr>
          <a:xfrm>
            <a:off x="152400" y="1788517"/>
            <a:ext cx="5301916" cy="3802385"/>
          </a:xfrm>
          <a:prstGeom prst="rect">
            <a:avLst/>
          </a:prstGeom>
        </p:spPr>
      </p:pic>
      <p:pic>
        <p:nvPicPr>
          <p:cNvPr id="7" name="Picture 6" descr="Diagram, map&#10;&#10;Description automatically generated">
            <a:extLst>
              <a:ext uri="{FF2B5EF4-FFF2-40B4-BE49-F238E27FC236}">
                <a16:creationId xmlns:a16="http://schemas.microsoft.com/office/drawing/2014/main" id="{90330267-6D54-5F54-C514-6EEC375D17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1"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0C193F5-F7F2-D5FA-EBCB-D0D8B7715626}"/>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CBF8158D-48FF-99D4-F649-C17AD07295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9155"/>
            <a:ext cx="6410300" cy="4533090"/>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E22ED789-592B-D4E6-FD57-08DFC705379B}"/>
              </a:ext>
            </a:extLst>
          </p:cNvPr>
          <p:cNvPicPr/>
          <p:nvPr/>
        </p:nvPicPr>
        <p:blipFill>
          <a:blip r:embed="rId2"/>
          <a:stretch>
            <a:fillRect/>
          </a:stretch>
        </p:blipFill>
        <p:spPr>
          <a:xfrm>
            <a:off x="152400" y="1777637"/>
            <a:ext cx="5289974" cy="3787140"/>
          </a:xfrm>
          <a:prstGeom prst="rect">
            <a:avLst/>
          </a:prstGeom>
        </p:spPr>
      </p:pic>
      <p:pic>
        <p:nvPicPr>
          <p:cNvPr id="7" name="Picture 6" descr="Diagram, map&#10;&#10;Description automatically generated">
            <a:extLst>
              <a:ext uri="{FF2B5EF4-FFF2-40B4-BE49-F238E27FC236}">
                <a16:creationId xmlns:a16="http://schemas.microsoft.com/office/drawing/2014/main" id="{8606A69C-7FA8-7E6F-83E2-47E781E700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8"/>
            <a:ext cx="6400801"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0194D96-D35D-6355-EBD7-CF0C038CAC6F}"/>
              </a:ext>
            </a:extLst>
          </p:cNvPr>
          <p:cNvPicPr/>
          <p:nvPr/>
        </p:nvPicPr>
        <p:blipFill>
          <a:blip r:embed="rId2"/>
          <a:stretch>
            <a:fillRect/>
          </a:stretch>
        </p:blipFill>
        <p:spPr>
          <a:xfrm>
            <a:off x="152400" y="1783080"/>
            <a:ext cx="5297356" cy="3799114"/>
          </a:xfrm>
          <a:prstGeom prst="rect">
            <a:avLst/>
          </a:prstGeom>
        </p:spPr>
      </p:pic>
      <p:pic>
        <p:nvPicPr>
          <p:cNvPr id="6" name="Picture 5" descr="Diagram&#10;&#10;Description automatically generated with medium confidence">
            <a:extLst>
              <a:ext uri="{FF2B5EF4-FFF2-40B4-BE49-F238E27FC236}">
                <a16:creationId xmlns:a16="http://schemas.microsoft.com/office/drawing/2014/main" id="{FA879AD2-431C-1986-7615-E492789D94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2309"/>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CAF668B-EBA9-5D1C-45B3-F70D02BF4F33}"/>
              </a:ext>
            </a:extLst>
          </p:cNvPr>
          <p:cNvPicPr/>
          <p:nvPr/>
        </p:nvPicPr>
        <p:blipFill>
          <a:blip r:embed="rId2"/>
          <a:stretch>
            <a:fillRect/>
          </a:stretch>
        </p:blipFill>
        <p:spPr>
          <a:xfrm>
            <a:off x="152400" y="1791789"/>
            <a:ext cx="5298659" cy="3746863"/>
          </a:xfrm>
          <a:prstGeom prst="rect">
            <a:avLst/>
          </a:prstGeom>
        </p:spPr>
      </p:pic>
      <p:pic>
        <p:nvPicPr>
          <p:cNvPr id="7" name="Picture 6" descr="Chart, map, surface chart&#10;&#10;Description automatically generated">
            <a:extLst>
              <a:ext uri="{FF2B5EF4-FFF2-40B4-BE49-F238E27FC236}">
                <a16:creationId xmlns:a16="http://schemas.microsoft.com/office/drawing/2014/main" id="{F8DC8196-733F-0AEF-041F-01D69CD7A0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CC0BB89-F89F-9306-B2BF-0990A37851A7}"/>
              </a:ext>
            </a:extLst>
          </p:cNvPr>
          <p:cNvPicPr/>
          <p:nvPr/>
        </p:nvPicPr>
        <p:blipFill>
          <a:blip r:embed="rId2"/>
          <a:stretch>
            <a:fillRect/>
          </a:stretch>
        </p:blipFill>
        <p:spPr>
          <a:xfrm>
            <a:off x="152400" y="1779904"/>
            <a:ext cx="5309500" cy="3807823"/>
          </a:xfrm>
          <a:prstGeom prst="rect">
            <a:avLst/>
          </a:prstGeom>
        </p:spPr>
      </p:pic>
      <p:pic>
        <p:nvPicPr>
          <p:cNvPr id="7" name="Picture 6" descr="Chart, diagram&#10;&#10;Description automatically generated">
            <a:extLst>
              <a:ext uri="{FF2B5EF4-FFF2-40B4-BE49-F238E27FC236}">
                <a16:creationId xmlns:a16="http://schemas.microsoft.com/office/drawing/2014/main" id="{B1D38B19-CB0C-E03F-3140-F9905140EE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1F37F8B-4916-566D-ADEA-56C045B31C05}"/>
              </a:ext>
            </a:extLst>
          </p:cNvPr>
          <p:cNvPicPr/>
          <p:nvPr/>
        </p:nvPicPr>
        <p:blipFill>
          <a:blip r:embed="rId2"/>
          <a:stretch>
            <a:fillRect/>
          </a:stretch>
        </p:blipFill>
        <p:spPr>
          <a:xfrm>
            <a:off x="152400" y="1783079"/>
            <a:ext cx="5295900" cy="3795173"/>
          </a:xfrm>
          <a:prstGeom prst="rect">
            <a:avLst/>
          </a:prstGeom>
        </p:spPr>
      </p:pic>
      <p:pic>
        <p:nvPicPr>
          <p:cNvPr id="7" name="Picture 6" descr="Diagram, map&#10;&#10;Description automatically generated">
            <a:extLst>
              <a:ext uri="{FF2B5EF4-FFF2-40B4-BE49-F238E27FC236}">
                <a16:creationId xmlns:a16="http://schemas.microsoft.com/office/drawing/2014/main" id="{ABC03041-4823-352C-E1E2-78AE74E188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15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CD23F3F-8C55-E87E-C23B-C84D382EBBA8}"/>
              </a:ext>
            </a:extLst>
          </p:cNvPr>
          <p:cNvPicPr/>
          <p:nvPr/>
        </p:nvPicPr>
        <p:blipFill>
          <a:blip r:embed="rId2"/>
          <a:stretch>
            <a:fillRect/>
          </a:stretch>
        </p:blipFill>
        <p:spPr>
          <a:xfrm>
            <a:off x="159053" y="1774372"/>
            <a:ext cx="5289247" cy="3790406"/>
          </a:xfrm>
          <a:prstGeom prst="rect">
            <a:avLst/>
          </a:prstGeom>
        </p:spPr>
      </p:pic>
      <p:pic>
        <p:nvPicPr>
          <p:cNvPr id="7" name="Picture 6" descr="Diagram, schematic, map&#10;&#10;Description automatically generated">
            <a:extLst>
              <a:ext uri="{FF2B5EF4-FFF2-40B4-BE49-F238E27FC236}">
                <a16:creationId xmlns:a16="http://schemas.microsoft.com/office/drawing/2014/main" id="{05E2739B-2EFB-40B9-1DF9-30ED0A5207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773"/>
            <a:ext cx="6394147" cy="452166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ED619DE-CEEC-B76E-6BEA-F26CDFF08A1D}"/>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9DC1132B-1278-9AE3-9CF6-B1E1DD9493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7389"/>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5222C9C-3432-6E45-48F9-358BCDB10EB6}"/>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EDB01345-50DB-48C5-8A9D-BC388CB3E5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32EAD4A-2790-F226-97AC-FA3F2297AEFF}"/>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27E86263-5CB8-4A1E-D1EF-0A41D4FBA1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159"/>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93CB5DA-7886-2181-7FCA-DD793A0411AF}"/>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25FD9BB4-D4A3-ABE9-7A16-9D201CF24A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9"/>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C90DB79-1788-2DDC-6934-5FD9E5C9A4F3}"/>
              </a:ext>
            </a:extLst>
          </p:cNvPr>
          <p:cNvPicPr/>
          <p:nvPr/>
        </p:nvPicPr>
        <p:blipFill>
          <a:blip r:embed="rId2"/>
          <a:stretch>
            <a:fillRect/>
          </a:stretch>
        </p:blipFill>
        <p:spPr>
          <a:xfrm>
            <a:off x="152400" y="1774368"/>
            <a:ext cx="5309500" cy="3807823"/>
          </a:xfrm>
          <a:prstGeom prst="rect">
            <a:avLst/>
          </a:prstGeom>
        </p:spPr>
      </p:pic>
      <p:pic>
        <p:nvPicPr>
          <p:cNvPr id="7" name="Picture 6" descr="Diagram, schematic, map&#10;&#10;Description automatically generated">
            <a:extLst>
              <a:ext uri="{FF2B5EF4-FFF2-40B4-BE49-F238E27FC236}">
                <a16:creationId xmlns:a16="http://schemas.microsoft.com/office/drawing/2014/main" id="{4FF6201A-9436-B297-92DC-6555C259B1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7389"/>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F2A0429E-7799-E258-9925-1C3CBEB87DD6}"/>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57A1B88D-3149-BCA9-3A51-3520C67C51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768"/>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ECBFD783-374F-A3EA-9C48-F0535C0F5A3D}"/>
              </a:ext>
            </a:extLst>
          </p:cNvPr>
          <p:cNvPicPr/>
          <p:nvPr/>
        </p:nvPicPr>
        <p:blipFill>
          <a:blip r:embed="rId2"/>
          <a:stretch>
            <a:fillRect/>
          </a:stretch>
        </p:blipFill>
        <p:spPr>
          <a:xfrm>
            <a:off x="156412" y="1783318"/>
            <a:ext cx="5291888" cy="3790406"/>
          </a:xfrm>
          <a:prstGeom prst="rect">
            <a:avLst/>
          </a:prstGeom>
        </p:spPr>
      </p:pic>
      <p:pic>
        <p:nvPicPr>
          <p:cNvPr id="8" name="Picture 7" descr="Diagram, schematic, map&#10;&#10;Description automatically generated">
            <a:extLst>
              <a:ext uri="{FF2B5EF4-FFF2-40B4-BE49-F238E27FC236}">
                <a16:creationId xmlns:a16="http://schemas.microsoft.com/office/drawing/2014/main" id="{82E9312D-9C47-27C1-C712-BA1774D94B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8371"/>
            <a:ext cx="6396788" cy="452353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C3129EAF-1A90-14DF-A80D-1621DC865CB3}"/>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A4BE3770-140B-B6A9-59FE-031C14CF18C3}"/>
              </a:ext>
            </a:extLst>
          </p:cNvPr>
          <p:cNvPicPr/>
          <p:nvPr/>
        </p:nvPicPr>
        <p:blipFill>
          <a:blip r:embed="rId2"/>
          <a:stretch>
            <a:fillRect/>
          </a:stretch>
        </p:blipFill>
        <p:spPr>
          <a:xfrm>
            <a:off x="161358" y="1777637"/>
            <a:ext cx="5299487" cy="3795849"/>
          </a:xfrm>
          <a:prstGeom prst="rect">
            <a:avLst/>
          </a:prstGeom>
        </p:spPr>
      </p:pic>
      <p:pic>
        <p:nvPicPr>
          <p:cNvPr id="8" name="Picture 7" descr="Diagram, schematic, map&#10;&#10;Description automatically generated">
            <a:extLst>
              <a:ext uri="{FF2B5EF4-FFF2-40B4-BE49-F238E27FC236}">
                <a16:creationId xmlns:a16="http://schemas.microsoft.com/office/drawing/2014/main" id="{C2B8876E-2D8C-ACAE-74AB-84590464FF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757" y="1415542"/>
            <a:ext cx="6391843" cy="4520037"/>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8B86960F-AB3F-5825-FA58-3FF3352FE1D6}"/>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D10B992-CD81-2E75-324B-8AC39009AA9B}"/>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9834BD2-521D-B457-ECF6-F56BB8B5B2D1}"/>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2032345"/>
            <a:ext cx="1198148" cy="2886164"/>
            <a:chOff x="10485745" y="2004147"/>
            <a:chExt cx="1198148" cy="2886164"/>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06207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8.7</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00414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004147"/>
              <a:ext cx="0" cy="105792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954625"/>
              <a:ext cx="0" cy="93568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BD576F90-290B-93DE-CB4A-68DECBBD4705}"/>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E08474C7-A665-CFAC-6763-B13AB48B12B9}"/>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C6645CE-D1E7-D520-B3F8-8D9AEB021840}"/>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8FA7B2D2-97FF-A1BB-BC25-BF86B1EF05D6}"/>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ADB064D-A38C-AE0E-AA61-7F2DEC84DB62}"/>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B9D4416-9713-223B-C52C-81E57111DFE8}"/>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C7A43F6A-59A2-2D9A-3B00-C2426AEF1AA9}"/>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7CD5260-6ADA-EFE7-9E60-A4D0E96B37DB}"/>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11</TotalTime>
  <Words>1463</Words>
  <Application>Microsoft Office PowerPoint</Application>
  <PresentationFormat>Widescreen</PresentationFormat>
  <Paragraphs>136</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56</cp:revision>
  <dcterms:created xsi:type="dcterms:W3CDTF">2022-07-04T13:32:28Z</dcterms:created>
  <dcterms:modified xsi:type="dcterms:W3CDTF">2023-03-13T22:09:52Z</dcterms:modified>
</cp:coreProperties>
</file>